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5"/>
  </p:notesMasterIdLst>
  <p:handoutMasterIdLst>
    <p:handoutMasterId r:id="rId6"/>
  </p:handoutMasterIdLst>
  <p:sldIdLst>
    <p:sldId id="262" r:id="rId3"/>
    <p:sldId id="261" r:id="rId4"/>
  </p:sldIdLst>
  <p:sldSz cx="13631863" cy="8461375"/>
  <p:notesSz cx="6954838" cy="9240838"/>
  <p:defaultTextStyle>
    <a:defPPr>
      <a:defRPr lang="ru-RU"/>
    </a:defPPr>
    <a:lvl1pPr marL="0" algn="l" defTabSz="105137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5689" algn="l" defTabSz="105137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51377" algn="l" defTabSz="105137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77066" algn="l" defTabSz="105137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02754" algn="l" defTabSz="105137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28443" algn="l" defTabSz="105137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54131" algn="l" defTabSz="105137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79820" algn="l" defTabSz="105137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05508" algn="l" defTabSz="105137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66">
          <p15:clr>
            <a:srgbClr val="A4A3A4"/>
          </p15:clr>
        </p15:guide>
        <p15:guide id="2" pos="429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B8B"/>
    <a:srgbClr val="4472C4"/>
    <a:srgbClr val="CCFFFF"/>
    <a:srgbClr val="00FFFF"/>
    <a:srgbClr val="FFC5C5"/>
    <a:srgbClr val="A1B8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2" d="100"/>
          <a:sy n="72" d="100"/>
        </p:scale>
        <p:origin x="84" y="414"/>
      </p:cViewPr>
      <p:guideLst>
        <p:guide orient="horz" pos="2666"/>
        <p:guide pos="429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14470" cy="461671"/>
          </a:xfrm>
          <a:prstGeom prst="rect">
            <a:avLst/>
          </a:prstGeom>
        </p:spPr>
        <p:txBody>
          <a:bodyPr vert="horz" lIns="87524" tIns="43762" rIns="87524" bIns="43762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938734" y="2"/>
            <a:ext cx="3014470" cy="461671"/>
          </a:xfrm>
          <a:prstGeom prst="rect">
            <a:avLst/>
          </a:prstGeom>
        </p:spPr>
        <p:txBody>
          <a:bodyPr vert="horz" lIns="87524" tIns="43762" rIns="87524" bIns="43762" rtlCol="0"/>
          <a:lstStyle>
            <a:lvl1pPr algn="r">
              <a:defRPr sz="1100"/>
            </a:lvl1pPr>
          </a:lstStyle>
          <a:p>
            <a:fld id="{3F7F4868-0D95-4F04-AD02-3D0EC42109C8}" type="datetimeFigureOut">
              <a:rPr lang="ru-RU" smtClean="0"/>
              <a:t>20.08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8777683"/>
            <a:ext cx="3014470" cy="461670"/>
          </a:xfrm>
          <a:prstGeom prst="rect">
            <a:avLst/>
          </a:prstGeom>
        </p:spPr>
        <p:txBody>
          <a:bodyPr vert="horz" lIns="87524" tIns="43762" rIns="87524" bIns="43762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938734" y="8777683"/>
            <a:ext cx="3014470" cy="461670"/>
          </a:xfrm>
          <a:prstGeom prst="rect">
            <a:avLst/>
          </a:prstGeom>
        </p:spPr>
        <p:txBody>
          <a:bodyPr vert="horz" lIns="87524" tIns="43762" rIns="87524" bIns="43762" rtlCol="0" anchor="b"/>
          <a:lstStyle>
            <a:lvl1pPr algn="r">
              <a:defRPr sz="1100"/>
            </a:lvl1pPr>
          </a:lstStyle>
          <a:p>
            <a:fld id="{B293F94A-96FB-4671-8B6B-151F74B766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80272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14470" cy="461671"/>
          </a:xfrm>
          <a:prstGeom prst="rect">
            <a:avLst/>
          </a:prstGeom>
        </p:spPr>
        <p:txBody>
          <a:bodyPr vert="horz" lIns="87524" tIns="43762" rIns="87524" bIns="43762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38734" y="2"/>
            <a:ext cx="3014470" cy="461671"/>
          </a:xfrm>
          <a:prstGeom prst="rect">
            <a:avLst/>
          </a:prstGeom>
        </p:spPr>
        <p:txBody>
          <a:bodyPr vert="horz" lIns="87524" tIns="43762" rIns="87524" bIns="43762" rtlCol="0"/>
          <a:lstStyle>
            <a:lvl1pPr algn="r">
              <a:defRPr sz="1100"/>
            </a:lvl1pPr>
          </a:lstStyle>
          <a:p>
            <a:fld id="{05F62F7E-B0F9-44CA-9EC1-40163D40C37A}" type="datetimeFigureOut">
              <a:rPr lang="ru-RU" smtClean="0"/>
              <a:t>20.08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693738"/>
            <a:ext cx="5580062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524" tIns="43762" rIns="87524" bIns="43762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95648" y="4389584"/>
            <a:ext cx="5563544" cy="4158006"/>
          </a:xfrm>
          <a:prstGeom prst="rect">
            <a:avLst/>
          </a:prstGeom>
        </p:spPr>
        <p:txBody>
          <a:bodyPr vert="horz" lIns="87524" tIns="43762" rIns="87524" bIns="43762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8777683"/>
            <a:ext cx="3014470" cy="461670"/>
          </a:xfrm>
          <a:prstGeom prst="rect">
            <a:avLst/>
          </a:prstGeom>
        </p:spPr>
        <p:txBody>
          <a:bodyPr vert="horz" lIns="87524" tIns="43762" rIns="87524" bIns="43762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38734" y="8777683"/>
            <a:ext cx="3014470" cy="461670"/>
          </a:xfrm>
          <a:prstGeom prst="rect">
            <a:avLst/>
          </a:prstGeom>
        </p:spPr>
        <p:txBody>
          <a:bodyPr vert="horz" lIns="87524" tIns="43762" rIns="87524" bIns="43762" rtlCol="0" anchor="b"/>
          <a:lstStyle>
            <a:lvl1pPr algn="r">
              <a:defRPr sz="1100"/>
            </a:lvl1pPr>
          </a:lstStyle>
          <a:p>
            <a:fld id="{4F04825B-37CC-49E2-AB61-03CAA91ED8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44618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513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5689" algn="l" defTabSz="10513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51377" algn="l" defTabSz="10513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77066" algn="l" defTabSz="10513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02754" algn="l" defTabSz="10513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28443" algn="l" defTabSz="10513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54131" algn="l" defTabSz="10513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79820" algn="l" defTabSz="10513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05508" algn="l" defTabSz="10513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86BC2F-C5A0-43CE-AE17-97B8894BA06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14541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6D62EA6-4EB2-4352-AF66-8D5E7C3E94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3983" y="1384768"/>
            <a:ext cx="10223897" cy="2945812"/>
          </a:xfrm>
        </p:spPr>
        <p:txBody>
          <a:bodyPr anchor="b"/>
          <a:lstStyle>
            <a:lvl1pPr algn="ctr">
              <a:defRPr sz="69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F8871A4-0BFF-4BB1-9CD9-286543BF83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03983" y="4444181"/>
            <a:ext cx="10223897" cy="2042873"/>
          </a:xfrm>
        </p:spPr>
        <p:txBody>
          <a:bodyPr/>
          <a:lstStyle>
            <a:lvl1pPr marL="0" indent="0" algn="ctr">
              <a:buNone/>
              <a:defRPr sz="2800"/>
            </a:lvl1pPr>
            <a:lvl2pPr marL="525689" indent="0" algn="ctr">
              <a:buNone/>
              <a:defRPr sz="2300"/>
            </a:lvl2pPr>
            <a:lvl3pPr marL="1051377" indent="0" algn="ctr">
              <a:buNone/>
              <a:defRPr sz="2100"/>
            </a:lvl3pPr>
            <a:lvl4pPr marL="1577066" indent="0" algn="ctr">
              <a:buNone/>
              <a:defRPr sz="1800"/>
            </a:lvl4pPr>
            <a:lvl5pPr marL="2102754" indent="0" algn="ctr">
              <a:buNone/>
              <a:defRPr sz="1800"/>
            </a:lvl5pPr>
            <a:lvl6pPr marL="2628443" indent="0" algn="ctr">
              <a:buNone/>
              <a:defRPr sz="1800"/>
            </a:lvl6pPr>
            <a:lvl7pPr marL="3154131" indent="0" algn="ctr">
              <a:buNone/>
              <a:defRPr sz="1800"/>
            </a:lvl7pPr>
            <a:lvl8pPr marL="3679820" indent="0" algn="ctr">
              <a:buNone/>
              <a:defRPr sz="1800"/>
            </a:lvl8pPr>
            <a:lvl9pPr marL="4205508" indent="0" algn="ctr">
              <a:buNone/>
              <a:defRPr sz="18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BA98E5F-9395-428B-BA8A-82BFFAB16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FEA0A-7753-495F-9DCB-57EE56058574}" type="datetimeFigureOut">
              <a:rPr lang="ru-RU" smtClean="0"/>
              <a:t>20.08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0365975-B15A-4B79-A11D-0DA86E310F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617B953-FA51-4052-A459-1F1D45340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2CB9F-D895-4D46-9E74-CAE9499FE9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59069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2013DDB-FD56-44F4-9342-7C5F70599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379A234-25E9-474D-86A4-84279DD0BC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2BDDE79-1578-46F3-AF66-957BCDA791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FEA0A-7753-495F-9DCB-57EE56058574}" type="datetimeFigureOut">
              <a:rPr lang="ru-RU" smtClean="0"/>
              <a:t>20.08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B6AC977-3F19-4804-8363-381C83E67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354A33D-E11B-4529-A491-894E1D7AF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2CB9F-D895-4D46-9E74-CAE9499FE9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36370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5991C726-0D6A-4992-A9E3-1E48408785D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755302" y="450489"/>
            <a:ext cx="2939370" cy="7170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3ECAE81-F6EE-49C1-952D-2A2A1F095D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937191" y="450489"/>
            <a:ext cx="8647713" cy="7170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29C31D2-6B39-4BE0-8B31-5A31A211C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FEA0A-7753-495F-9DCB-57EE56058574}" type="datetimeFigureOut">
              <a:rPr lang="ru-RU" smtClean="0"/>
              <a:t>20.08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9E46C38-8C97-4447-AB7A-A3B260885D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EAD5C11-0CE4-4667-BE29-05F2C0030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2CB9F-D895-4D46-9E74-CAE9499FE9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84586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">
    <p:bg>
      <p:bgPr>
        <a:blipFill dpi="0" rotWithShape="1">
          <a:blip r:embed="rId2">
            <a:alphaModFix amt="99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72801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22390" y="2628515"/>
            <a:ext cx="11587084" cy="181371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44780" y="4794779"/>
            <a:ext cx="9542304" cy="216235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64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8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92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6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20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8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48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12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E306E3-4676-4A08-9300-95C7A50F70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8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7A87B-FA0B-4B13-8F5F-601AD5C0CD6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0166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E306E3-4676-4A08-9300-95C7A50F70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8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7A87B-FA0B-4B13-8F5F-601AD5C0CD6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1565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6823" y="5437219"/>
            <a:ext cx="11587084" cy="1680523"/>
          </a:xfrm>
        </p:spPr>
        <p:txBody>
          <a:bodyPr anchor="t"/>
          <a:lstStyle>
            <a:lvl1pPr algn="l">
              <a:defRPr sz="4935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76823" y="3586292"/>
            <a:ext cx="11587084" cy="1850925"/>
          </a:xfrm>
        </p:spPr>
        <p:txBody>
          <a:bodyPr anchor="b"/>
          <a:lstStyle>
            <a:lvl1pPr marL="0" indent="0">
              <a:buNone/>
              <a:defRPr sz="2468">
                <a:solidFill>
                  <a:schemeClr val="tx1">
                    <a:tint val="75000"/>
                  </a:schemeClr>
                </a:solidFill>
              </a:defRPr>
            </a:lvl1pPr>
            <a:lvl2pPr marL="564093" indent="0">
              <a:buNone/>
              <a:defRPr sz="2221">
                <a:solidFill>
                  <a:schemeClr val="tx1">
                    <a:tint val="75000"/>
                  </a:schemeClr>
                </a:solidFill>
              </a:defRPr>
            </a:lvl2pPr>
            <a:lvl3pPr marL="1128187" indent="0">
              <a:buNone/>
              <a:defRPr sz="1974">
                <a:solidFill>
                  <a:schemeClr val="tx1">
                    <a:tint val="75000"/>
                  </a:schemeClr>
                </a:solidFill>
              </a:defRPr>
            </a:lvl3pPr>
            <a:lvl4pPr marL="1692280" indent="0">
              <a:buNone/>
              <a:defRPr sz="1727">
                <a:solidFill>
                  <a:schemeClr val="tx1">
                    <a:tint val="75000"/>
                  </a:schemeClr>
                </a:solidFill>
              </a:defRPr>
            </a:lvl4pPr>
            <a:lvl5pPr marL="2256373" indent="0">
              <a:buNone/>
              <a:defRPr sz="1727">
                <a:solidFill>
                  <a:schemeClr val="tx1">
                    <a:tint val="75000"/>
                  </a:schemeClr>
                </a:solidFill>
              </a:defRPr>
            </a:lvl5pPr>
            <a:lvl6pPr marL="2820467" indent="0">
              <a:buNone/>
              <a:defRPr sz="1727">
                <a:solidFill>
                  <a:schemeClr val="tx1">
                    <a:tint val="75000"/>
                  </a:schemeClr>
                </a:solidFill>
              </a:defRPr>
            </a:lvl6pPr>
            <a:lvl7pPr marL="3384560" indent="0">
              <a:buNone/>
              <a:defRPr sz="1727">
                <a:solidFill>
                  <a:schemeClr val="tx1">
                    <a:tint val="75000"/>
                  </a:schemeClr>
                </a:solidFill>
              </a:defRPr>
            </a:lvl7pPr>
            <a:lvl8pPr marL="3948654" indent="0">
              <a:buNone/>
              <a:defRPr sz="1727">
                <a:solidFill>
                  <a:schemeClr val="tx1">
                    <a:tint val="75000"/>
                  </a:schemeClr>
                </a:solidFill>
              </a:defRPr>
            </a:lvl8pPr>
            <a:lvl9pPr marL="4512747" indent="0">
              <a:buNone/>
              <a:defRPr sz="172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E306E3-4676-4A08-9300-95C7A50F70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8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7A87B-FA0B-4B13-8F5F-601AD5C0CD6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6182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593" y="1974323"/>
            <a:ext cx="6020739" cy="5584116"/>
          </a:xfrm>
        </p:spPr>
        <p:txBody>
          <a:bodyPr/>
          <a:lstStyle>
            <a:lvl1pPr>
              <a:defRPr sz="3455"/>
            </a:lvl1pPr>
            <a:lvl2pPr>
              <a:defRPr sz="2961"/>
            </a:lvl2pPr>
            <a:lvl3pPr>
              <a:defRPr sz="2468"/>
            </a:lvl3pPr>
            <a:lvl4pPr>
              <a:defRPr sz="2221"/>
            </a:lvl4pPr>
            <a:lvl5pPr>
              <a:defRPr sz="2221"/>
            </a:lvl5pPr>
            <a:lvl6pPr>
              <a:defRPr sz="2221"/>
            </a:lvl6pPr>
            <a:lvl7pPr>
              <a:defRPr sz="2221"/>
            </a:lvl7pPr>
            <a:lvl8pPr>
              <a:defRPr sz="2221"/>
            </a:lvl8pPr>
            <a:lvl9pPr>
              <a:defRPr sz="222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929531" y="1974323"/>
            <a:ext cx="6020739" cy="5584116"/>
          </a:xfrm>
        </p:spPr>
        <p:txBody>
          <a:bodyPr/>
          <a:lstStyle>
            <a:lvl1pPr>
              <a:defRPr sz="3455"/>
            </a:lvl1pPr>
            <a:lvl2pPr>
              <a:defRPr sz="2961"/>
            </a:lvl2pPr>
            <a:lvl3pPr>
              <a:defRPr sz="2468"/>
            </a:lvl3pPr>
            <a:lvl4pPr>
              <a:defRPr sz="2221"/>
            </a:lvl4pPr>
            <a:lvl5pPr>
              <a:defRPr sz="2221"/>
            </a:lvl5pPr>
            <a:lvl6pPr>
              <a:defRPr sz="2221"/>
            </a:lvl6pPr>
            <a:lvl7pPr>
              <a:defRPr sz="2221"/>
            </a:lvl7pPr>
            <a:lvl8pPr>
              <a:defRPr sz="2221"/>
            </a:lvl8pPr>
            <a:lvl9pPr>
              <a:defRPr sz="222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E306E3-4676-4A08-9300-95C7A50F70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8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7A87B-FA0B-4B13-8F5F-601AD5C0CD6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6111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593" y="1894017"/>
            <a:ext cx="6023107" cy="789337"/>
          </a:xfrm>
        </p:spPr>
        <p:txBody>
          <a:bodyPr anchor="b"/>
          <a:lstStyle>
            <a:lvl1pPr marL="0" indent="0">
              <a:buNone/>
              <a:defRPr sz="2961" b="1"/>
            </a:lvl1pPr>
            <a:lvl2pPr marL="564093" indent="0">
              <a:buNone/>
              <a:defRPr sz="2468" b="1"/>
            </a:lvl2pPr>
            <a:lvl3pPr marL="1128187" indent="0">
              <a:buNone/>
              <a:defRPr sz="2221" b="1"/>
            </a:lvl3pPr>
            <a:lvl4pPr marL="1692280" indent="0">
              <a:buNone/>
              <a:defRPr sz="1974" b="1"/>
            </a:lvl4pPr>
            <a:lvl5pPr marL="2256373" indent="0">
              <a:buNone/>
              <a:defRPr sz="1974" b="1"/>
            </a:lvl5pPr>
            <a:lvl6pPr marL="2820467" indent="0">
              <a:buNone/>
              <a:defRPr sz="1974" b="1"/>
            </a:lvl6pPr>
            <a:lvl7pPr marL="3384560" indent="0">
              <a:buNone/>
              <a:defRPr sz="1974" b="1"/>
            </a:lvl7pPr>
            <a:lvl8pPr marL="3948654" indent="0">
              <a:buNone/>
              <a:defRPr sz="1974" b="1"/>
            </a:lvl8pPr>
            <a:lvl9pPr marL="4512747" indent="0">
              <a:buNone/>
              <a:defRPr sz="197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1593" y="2683352"/>
            <a:ext cx="6023107" cy="4875085"/>
          </a:xfrm>
        </p:spPr>
        <p:txBody>
          <a:bodyPr/>
          <a:lstStyle>
            <a:lvl1pPr>
              <a:defRPr sz="2961"/>
            </a:lvl1pPr>
            <a:lvl2pPr>
              <a:defRPr sz="2468"/>
            </a:lvl2pPr>
            <a:lvl3pPr>
              <a:defRPr sz="2221"/>
            </a:lvl3pPr>
            <a:lvl4pPr>
              <a:defRPr sz="1974"/>
            </a:lvl4pPr>
            <a:lvl5pPr>
              <a:defRPr sz="1974"/>
            </a:lvl5pPr>
            <a:lvl6pPr>
              <a:defRPr sz="1974"/>
            </a:lvl6pPr>
            <a:lvl7pPr>
              <a:defRPr sz="1974"/>
            </a:lvl7pPr>
            <a:lvl8pPr>
              <a:defRPr sz="1974"/>
            </a:lvl8pPr>
            <a:lvl9pPr>
              <a:defRPr sz="197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924804" y="1894017"/>
            <a:ext cx="6025473" cy="789337"/>
          </a:xfrm>
        </p:spPr>
        <p:txBody>
          <a:bodyPr anchor="b"/>
          <a:lstStyle>
            <a:lvl1pPr marL="0" indent="0">
              <a:buNone/>
              <a:defRPr sz="2961" b="1"/>
            </a:lvl1pPr>
            <a:lvl2pPr marL="564093" indent="0">
              <a:buNone/>
              <a:defRPr sz="2468" b="1"/>
            </a:lvl2pPr>
            <a:lvl3pPr marL="1128187" indent="0">
              <a:buNone/>
              <a:defRPr sz="2221" b="1"/>
            </a:lvl3pPr>
            <a:lvl4pPr marL="1692280" indent="0">
              <a:buNone/>
              <a:defRPr sz="1974" b="1"/>
            </a:lvl4pPr>
            <a:lvl5pPr marL="2256373" indent="0">
              <a:buNone/>
              <a:defRPr sz="1974" b="1"/>
            </a:lvl5pPr>
            <a:lvl6pPr marL="2820467" indent="0">
              <a:buNone/>
              <a:defRPr sz="1974" b="1"/>
            </a:lvl6pPr>
            <a:lvl7pPr marL="3384560" indent="0">
              <a:buNone/>
              <a:defRPr sz="1974" b="1"/>
            </a:lvl7pPr>
            <a:lvl8pPr marL="3948654" indent="0">
              <a:buNone/>
              <a:defRPr sz="1974" b="1"/>
            </a:lvl8pPr>
            <a:lvl9pPr marL="4512747" indent="0">
              <a:buNone/>
              <a:defRPr sz="197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924804" y="2683352"/>
            <a:ext cx="6025473" cy="4875085"/>
          </a:xfrm>
        </p:spPr>
        <p:txBody>
          <a:bodyPr/>
          <a:lstStyle>
            <a:lvl1pPr>
              <a:defRPr sz="2961"/>
            </a:lvl1pPr>
            <a:lvl2pPr>
              <a:defRPr sz="2468"/>
            </a:lvl2pPr>
            <a:lvl3pPr>
              <a:defRPr sz="2221"/>
            </a:lvl3pPr>
            <a:lvl4pPr>
              <a:defRPr sz="1974"/>
            </a:lvl4pPr>
            <a:lvl5pPr>
              <a:defRPr sz="1974"/>
            </a:lvl5pPr>
            <a:lvl6pPr>
              <a:defRPr sz="1974"/>
            </a:lvl6pPr>
            <a:lvl7pPr>
              <a:defRPr sz="1974"/>
            </a:lvl7pPr>
            <a:lvl8pPr>
              <a:defRPr sz="1974"/>
            </a:lvl8pPr>
            <a:lvl9pPr>
              <a:defRPr sz="197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E306E3-4676-4A08-9300-95C7A50F70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8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7A87B-FA0B-4B13-8F5F-601AD5C0CD6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2554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E306E3-4676-4A08-9300-95C7A50F70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8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7A87B-FA0B-4B13-8F5F-601AD5C0CD6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8490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E306E3-4676-4A08-9300-95C7A50F70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8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7A87B-FA0B-4B13-8F5F-601AD5C0CD6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4336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6A15FFA-2E31-4479-8293-577A577ED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4466177-F65D-4687-8126-80045CB53C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30DCCBC-618B-4C43-AEC9-40B7FBC4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FEA0A-7753-495F-9DCB-57EE56058574}" type="datetimeFigureOut">
              <a:rPr lang="ru-RU" smtClean="0"/>
              <a:t>20.08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D75692D-C596-4488-8A5E-46D1CE1E6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B294FD6-80C6-4253-8307-34554FB8C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2CB9F-D895-4D46-9E74-CAE9499FE9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78635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600" y="336888"/>
            <a:ext cx="4484789" cy="1433734"/>
          </a:xfrm>
        </p:spPr>
        <p:txBody>
          <a:bodyPr anchor="b"/>
          <a:lstStyle>
            <a:lvl1pPr algn="l">
              <a:defRPr sz="2468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329680" y="336892"/>
            <a:ext cx="7620590" cy="7221549"/>
          </a:xfrm>
        </p:spPr>
        <p:txBody>
          <a:bodyPr/>
          <a:lstStyle>
            <a:lvl1pPr>
              <a:defRPr sz="3948"/>
            </a:lvl1pPr>
            <a:lvl2pPr>
              <a:defRPr sz="3455"/>
            </a:lvl2pPr>
            <a:lvl3pPr>
              <a:defRPr sz="2961"/>
            </a:lvl3pPr>
            <a:lvl4pPr>
              <a:defRPr sz="2468"/>
            </a:lvl4pPr>
            <a:lvl5pPr>
              <a:defRPr sz="2468"/>
            </a:lvl5pPr>
            <a:lvl6pPr>
              <a:defRPr sz="2468"/>
            </a:lvl6pPr>
            <a:lvl7pPr>
              <a:defRPr sz="2468"/>
            </a:lvl7pPr>
            <a:lvl8pPr>
              <a:defRPr sz="2468"/>
            </a:lvl8pPr>
            <a:lvl9pPr>
              <a:defRPr sz="246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1600" y="1770625"/>
            <a:ext cx="4484789" cy="5787816"/>
          </a:xfrm>
        </p:spPr>
        <p:txBody>
          <a:bodyPr/>
          <a:lstStyle>
            <a:lvl1pPr marL="0" indent="0">
              <a:buNone/>
              <a:defRPr sz="1727"/>
            </a:lvl1pPr>
            <a:lvl2pPr marL="564093" indent="0">
              <a:buNone/>
              <a:defRPr sz="1481"/>
            </a:lvl2pPr>
            <a:lvl3pPr marL="1128187" indent="0">
              <a:buNone/>
              <a:defRPr sz="1234"/>
            </a:lvl3pPr>
            <a:lvl4pPr marL="1692280" indent="0">
              <a:buNone/>
              <a:defRPr sz="1110"/>
            </a:lvl4pPr>
            <a:lvl5pPr marL="2256373" indent="0">
              <a:buNone/>
              <a:defRPr sz="1110"/>
            </a:lvl5pPr>
            <a:lvl6pPr marL="2820467" indent="0">
              <a:buNone/>
              <a:defRPr sz="1110"/>
            </a:lvl6pPr>
            <a:lvl7pPr marL="3384560" indent="0">
              <a:buNone/>
              <a:defRPr sz="1110"/>
            </a:lvl7pPr>
            <a:lvl8pPr marL="3948654" indent="0">
              <a:buNone/>
              <a:defRPr sz="1110"/>
            </a:lvl8pPr>
            <a:lvl9pPr marL="4512747" indent="0">
              <a:buNone/>
              <a:defRPr sz="111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E306E3-4676-4A08-9300-95C7A50F70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8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7A87B-FA0B-4B13-8F5F-601AD5C0CD6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0851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71940" y="5922965"/>
            <a:ext cx="8179118" cy="699240"/>
          </a:xfrm>
        </p:spPr>
        <p:txBody>
          <a:bodyPr anchor="b"/>
          <a:lstStyle>
            <a:lvl1pPr algn="l">
              <a:defRPr sz="2468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671940" y="756040"/>
            <a:ext cx="8179118" cy="5076825"/>
          </a:xfrm>
        </p:spPr>
        <p:txBody>
          <a:bodyPr/>
          <a:lstStyle>
            <a:lvl1pPr marL="0" indent="0">
              <a:buNone/>
              <a:defRPr sz="3948"/>
            </a:lvl1pPr>
            <a:lvl2pPr marL="564093" indent="0">
              <a:buNone/>
              <a:defRPr sz="3455"/>
            </a:lvl2pPr>
            <a:lvl3pPr marL="1128187" indent="0">
              <a:buNone/>
              <a:defRPr sz="2961"/>
            </a:lvl3pPr>
            <a:lvl4pPr marL="1692280" indent="0">
              <a:buNone/>
              <a:defRPr sz="2468"/>
            </a:lvl4pPr>
            <a:lvl5pPr marL="2256373" indent="0">
              <a:buNone/>
              <a:defRPr sz="2468"/>
            </a:lvl5pPr>
            <a:lvl6pPr marL="2820467" indent="0">
              <a:buNone/>
              <a:defRPr sz="2468"/>
            </a:lvl6pPr>
            <a:lvl7pPr marL="3384560" indent="0">
              <a:buNone/>
              <a:defRPr sz="2468"/>
            </a:lvl7pPr>
            <a:lvl8pPr marL="3948654" indent="0">
              <a:buNone/>
              <a:defRPr sz="2468"/>
            </a:lvl8pPr>
            <a:lvl9pPr marL="4512747" indent="0">
              <a:buNone/>
              <a:defRPr sz="2468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671940" y="6622204"/>
            <a:ext cx="8179118" cy="993037"/>
          </a:xfrm>
        </p:spPr>
        <p:txBody>
          <a:bodyPr/>
          <a:lstStyle>
            <a:lvl1pPr marL="0" indent="0">
              <a:buNone/>
              <a:defRPr sz="1727"/>
            </a:lvl1pPr>
            <a:lvl2pPr marL="564093" indent="0">
              <a:buNone/>
              <a:defRPr sz="1481"/>
            </a:lvl2pPr>
            <a:lvl3pPr marL="1128187" indent="0">
              <a:buNone/>
              <a:defRPr sz="1234"/>
            </a:lvl3pPr>
            <a:lvl4pPr marL="1692280" indent="0">
              <a:buNone/>
              <a:defRPr sz="1110"/>
            </a:lvl4pPr>
            <a:lvl5pPr marL="2256373" indent="0">
              <a:buNone/>
              <a:defRPr sz="1110"/>
            </a:lvl5pPr>
            <a:lvl6pPr marL="2820467" indent="0">
              <a:buNone/>
              <a:defRPr sz="1110"/>
            </a:lvl6pPr>
            <a:lvl7pPr marL="3384560" indent="0">
              <a:buNone/>
              <a:defRPr sz="1110"/>
            </a:lvl7pPr>
            <a:lvl8pPr marL="3948654" indent="0">
              <a:buNone/>
              <a:defRPr sz="1110"/>
            </a:lvl8pPr>
            <a:lvl9pPr marL="4512747" indent="0">
              <a:buNone/>
              <a:defRPr sz="111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E306E3-4676-4A08-9300-95C7A50F70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8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7A87B-FA0B-4B13-8F5F-601AD5C0CD6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1942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E306E3-4676-4A08-9300-95C7A50F70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8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7A87B-FA0B-4B13-8F5F-601AD5C0CD6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5571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883101" y="338850"/>
            <a:ext cx="3067169" cy="721959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593" y="338850"/>
            <a:ext cx="8974310" cy="721959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E306E3-4676-4A08-9300-95C7A50F70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8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7A87B-FA0B-4B13-8F5F-601AD5C0CD6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5673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89F4EF-27AE-4B7A-A1A5-561B881261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0091" y="2109469"/>
            <a:ext cx="11757482" cy="3519697"/>
          </a:xfrm>
        </p:spPr>
        <p:txBody>
          <a:bodyPr anchor="b"/>
          <a:lstStyle>
            <a:lvl1pPr>
              <a:defRPr sz="69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91EEC1A-5E7C-4E2D-A09D-2340006110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0091" y="5662464"/>
            <a:ext cx="11757482" cy="185092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525689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2pPr>
            <a:lvl3pPr marL="10513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57706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027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62844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15413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67982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2055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46CABD5-0623-4E59-A069-2FD6773149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FEA0A-7753-495F-9DCB-57EE56058574}" type="datetimeFigureOut">
              <a:rPr lang="ru-RU" smtClean="0"/>
              <a:t>20.08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8E62FE8-B4A7-4641-BEE0-4FE5B4073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602676B-3BC0-4825-B92F-709A43480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2CB9F-D895-4D46-9E74-CAE9499FE9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51202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C2E341-FAE3-472C-AFB0-5D6857A317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C9A5EF2-4D1D-4A46-A408-399A3143D90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37190" y="2252450"/>
            <a:ext cx="5793542" cy="536866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214A52B-65D8-4B52-9463-E87C9D93B0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901131" y="2252450"/>
            <a:ext cx="5793542" cy="536866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486F293-4AD5-4C35-9526-61485D9C8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FEA0A-7753-495F-9DCB-57EE56058574}" type="datetimeFigureOut">
              <a:rPr lang="ru-RU" smtClean="0"/>
              <a:t>20.08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1903581-70B0-4E12-88DE-31537CF9D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665C8F5-BFFF-4B68-B787-CB163CF78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2CB9F-D895-4D46-9E74-CAE9499FE9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2960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FB1B8F1-046F-4CC7-8EE7-147905EF84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8966" y="450490"/>
            <a:ext cx="11757482" cy="163547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AA67F2C-0EA6-4EC3-9E6E-DC7A01BF02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8968" y="2074214"/>
            <a:ext cx="5766916" cy="1016539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25689" indent="0">
              <a:buNone/>
              <a:defRPr sz="2300" b="1"/>
            </a:lvl2pPr>
            <a:lvl3pPr marL="1051377" indent="0">
              <a:buNone/>
              <a:defRPr sz="2100" b="1"/>
            </a:lvl3pPr>
            <a:lvl4pPr marL="1577066" indent="0">
              <a:buNone/>
              <a:defRPr sz="1800" b="1"/>
            </a:lvl4pPr>
            <a:lvl5pPr marL="2102754" indent="0">
              <a:buNone/>
              <a:defRPr sz="1800" b="1"/>
            </a:lvl5pPr>
            <a:lvl6pPr marL="2628443" indent="0">
              <a:buNone/>
              <a:defRPr sz="1800" b="1"/>
            </a:lvl6pPr>
            <a:lvl7pPr marL="3154131" indent="0">
              <a:buNone/>
              <a:defRPr sz="1800" b="1"/>
            </a:lvl7pPr>
            <a:lvl8pPr marL="3679820" indent="0">
              <a:buNone/>
              <a:defRPr sz="1800" b="1"/>
            </a:lvl8pPr>
            <a:lvl9pPr marL="4205508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BD7C0A7-287A-4EB0-B3DC-C91B79ACCF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38968" y="3090752"/>
            <a:ext cx="5766916" cy="454603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A4A54B40-B6C0-44FD-B01D-10BE166A80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901131" y="2074214"/>
            <a:ext cx="5795317" cy="1016539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25689" indent="0">
              <a:buNone/>
              <a:defRPr sz="2300" b="1"/>
            </a:lvl2pPr>
            <a:lvl3pPr marL="1051377" indent="0">
              <a:buNone/>
              <a:defRPr sz="2100" b="1"/>
            </a:lvl3pPr>
            <a:lvl4pPr marL="1577066" indent="0">
              <a:buNone/>
              <a:defRPr sz="1800" b="1"/>
            </a:lvl4pPr>
            <a:lvl5pPr marL="2102754" indent="0">
              <a:buNone/>
              <a:defRPr sz="1800" b="1"/>
            </a:lvl5pPr>
            <a:lvl6pPr marL="2628443" indent="0">
              <a:buNone/>
              <a:defRPr sz="1800" b="1"/>
            </a:lvl6pPr>
            <a:lvl7pPr marL="3154131" indent="0">
              <a:buNone/>
              <a:defRPr sz="1800" b="1"/>
            </a:lvl7pPr>
            <a:lvl8pPr marL="3679820" indent="0">
              <a:buNone/>
              <a:defRPr sz="1800" b="1"/>
            </a:lvl8pPr>
            <a:lvl9pPr marL="4205508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0E1C45FC-E17C-48AF-90B4-61FBB613F6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901131" y="3090752"/>
            <a:ext cx="5795317" cy="454603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3A32B8AF-E506-4AE9-94B4-18D5927909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FEA0A-7753-495F-9DCB-57EE56058574}" type="datetimeFigureOut">
              <a:rPr lang="ru-RU" smtClean="0"/>
              <a:t>20.08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894D1720-2D13-4521-AB19-F912763B13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0D28274-B730-4E0C-AAFB-3D23B5F53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2CB9F-D895-4D46-9E74-CAE9499FE9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9821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5CF9A3F-F981-4BF3-8367-F928C7F69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54C45E6-6EF3-43FD-B071-F8C9F5067C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FEA0A-7753-495F-9DCB-57EE56058574}" type="datetimeFigureOut">
              <a:rPr lang="ru-RU" smtClean="0"/>
              <a:t>20.08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4DCFAB0-BE97-41A0-9BEB-E677DAC91A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4C19094-0ED7-48AD-910C-71BE63860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2CB9F-D895-4D46-9E74-CAE9499FE9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9515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C075E8C-F470-42E1-A655-52382C8A8E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FEA0A-7753-495F-9DCB-57EE56058574}" type="datetimeFigureOut">
              <a:rPr lang="ru-RU" smtClean="0"/>
              <a:t>20.08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4F25CA7-813E-48B7-AD18-583779C36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41677F5-486B-47A6-A4F6-7DA844A14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2CB9F-D895-4D46-9E74-CAE9499FE9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96240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523A49D-2DA8-461B-B878-34EC26D55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8968" y="564092"/>
            <a:ext cx="4396630" cy="1974321"/>
          </a:xfrm>
        </p:spPr>
        <p:txBody>
          <a:bodyPr anchor="b"/>
          <a:lstStyle>
            <a:lvl1pPr>
              <a:defRPr sz="37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367507D-4E10-4CE1-9CB6-A6A0B07BD7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95317" y="1218282"/>
            <a:ext cx="6901131" cy="6013060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8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67ADFE-0452-415D-9953-91C353C42F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38968" y="2538412"/>
            <a:ext cx="4396630" cy="4702723"/>
          </a:xfrm>
        </p:spPr>
        <p:txBody>
          <a:bodyPr/>
          <a:lstStyle>
            <a:lvl1pPr marL="0" indent="0">
              <a:buNone/>
              <a:defRPr sz="1800"/>
            </a:lvl1pPr>
            <a:lvl2pPr marL="525689" indent="0">
              <a:buNone/>
              <a:defRPr sz="1600"/>
            </a:lvl2pPr>
            <a:lvl3pPr marL="1051377" indent="0">
              <a:buNone/>
              <a:defRPr sz="1400"/>
            </a:lvl3pPr>
            <a:lvl4pPr marL="1577066" indent="0">
              <a:buNone/>
              <a:defRPr sz="1100"/>
            </a:lvl4pPr>
            <a:lvl5pPr marL="2102754" indent="0">
              <a:buNone/>
              <a:defRPr sz="1100"/>
            </a:lvl5pPr>
            <a:lvl6pPr marL="2628443" indent="0">
              <a:buNone/>
              <a:defRPr sz="1100"/>
            </a:lvl6pPr>
            <a:lvl7pPr marL="3154131" indent="0">
              <a:buNone/>
              <a:defRPr sz="1100"/>
            </a:lvl7pPr>
            <a:lvl8pPr marL="3679820" indent="0">
              <a:buNone/>
              <a:defRPr sz="1100"/>
            </a:lvl8pPr>
            <a:lvl9pPr marL="4205508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C47A349-65A5-4302-AEE8-0A5AC4EB9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FEA0A-7753-495F-9DCB-57EE56058574}" type="datetimeFigureOut">
              <a:rPr lang="ru-RU" smtClean="0"/>
              <a:t>20.08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C0B2225-66E9-480C-9713-F4FDFDB7C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1B1681D-96AC-4E70-812F-7D2FB0B9A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2CB9F-D895-4D46-9E74-CAE9499FE9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1296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7DFF6A5-084E-4714-9B33-4D8C048E7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8968" y="564092"/>
            <a:ext cx="4396630" cy="1974321"/>
          </a:xfrm>
        </p:spPr>
        <p:txBody>
          <a:bodyPr anchor="b"/>
          <a:lstStyle>
            <a:lvl1pPr>
              <a:defRPr sz="37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A7CA3C68-DA1D-47FE-BFCF-89A2EFE32E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795317" y="1218282"/>
            <a:ext cx="6901131" cy="6013060"/>
          </a:xfrm>
        </p:spPr>
        <p:txBody>
          <a:bodyPr/>
          <a:lstStyle>
            <a:lvl1pPr marL="0" indent="0">
              <a:buNone/>
              <a:defRPr sz="3700"/>
            </a:lvl1pPr>
            <a:lvl2pPr marL="525689" indent="0">
              <a:buNone/>
              <a:defRPr sz="3200"/>
            </a:lvl2pPr>
            <a:lvl3pPr marL="1051377" indent="0">
              <a:buNone/>
              <a:defRPr sz="2800"/>
            </a:lvl3pPr>
            <a:lvl4pPr marL="1577066" indent="0">
              <a:buNone/>
              <a:defRPr sz="2300"/>
            </a:lvl4pPr>
            <a:lvl5pPr marL="2102754" indent="0">
              <a:buNone/>
              <a:defRPr sz="2300"/>
            </a:lvl5pPr>
            <a:lvl6pPr marL="2628443" indent="0">
              <a:buNone/>
              <a:defRPr sz="2300"/>
            </a:lvl6pPr>
            <a:lvl7pPr marL="3154131" indent="0">
              <a:buNone/>
              <a:defRPr sz="2300"/>
            </a:lvl7pPr>
            <a:lvl8pPr marL="3679820" indent="0">
              <a:buNone/>
              <a:defRPr sz="2300"/>
            </a:lvl8pPr>
            <a:lvl9pPr marL="4205508" indent="0">
              <a:buNone/>
              <a:defRPr sz="23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6BBFF4B-4ADC-48AA-B786-CB29DEDEB2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38968" y="2538412"/>
            <a:ext cx="4396630" cy="4702723"/>
          </a:xfrm>
        </p:spPr>
        <p:txBody>
          <a:bodyPr/>
          <a:lstStyle>
            <a:lvl1pPr marL="0" indent="0">
              <a:buNone/>
              <a:defRPr sz="1800"/>
            </a:lvl1pPr>
            <a:lvl2pPr marL="525689" indent="0">
              <a:buNone/>
              <a:defRPr sz="1600"/>
            </a:lvl2pPr>
            <a:lvl3pPr marL="1051377" indent="0">
              <a:buNone/>
              <a:defRPr sz="1400"/>
            </a:lvl3pPr>
            <a:lvl4pPr marL="1577066" indent="0">
              <a:buNone/>
              <a:defRPr sz="1100"/>
            </a:lvl4pPr>
            <a:lvl5pPr marL="2102754" indent="0">
              <a:buNone/>
              <a:defRPr sz="1100"/>
            </a:lvl5pPr>
            <a:lvl6pPr marL="2628443" indent="0">
              <a:buNone/>
              <a:defRPr sz="1100"/>
            </a:lvl6pPr>
            <a:lvl7pPr marL="3154131" indent="0">
              <a:buNone/>
              <a:defRPr sz="1100"/>
            </a:lvl7pPr>
            <a:lvl8pPr marL="3679820" indent="0">
              <a:buNone/>
              <a:defRPr sz="1100"/>
            </a:lvl8pPr>
            <a:lvl9pPr marL="4205508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1DC014E-4BA5-47AA-87C0-EA535A06E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FEA0A-7753-495F-9DCB-57EE56058574}" type="datetimeFigureOut">
              <a:rPr lang="ru-RU" smtClean="0"/>
              <a:t>20.08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26759FB-14FD-427F-B821-FF9CD7887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E49D463-C0F0-448A-B059-6A1B504026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2CB9F-D895-4D46-9E74-CAE9499FE9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05011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1947412-0075-4390-84A0-2D42E13BD3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7191" y="450490"/>
            <a:ext cx="11757482" cy="1635475"/>
          </a:xfrm>
          <a:prstGeom prst="rect">
            <a:avLst/>
          </a:prstGeom>
        </p:spPr>
        <p:txBody>
          <a:bodyPr vert="horz" lIns="105138" tIns="52569" rIns="105138" bIns="52569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B174AF1-4BA5-49AF-8541-57E803FFD3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7191" y="2252450"/>
            <a:ext cx="11757482" cy="5368664"/>
          </a:xfrm>
          <a:prstGeom prst="rect">
            <a:avLst/>
          </a:prstGeom>
        </p:spPr>
        <p:txBody>
          <a:bodyPr vert="horz" lIns="105138" tIns="52569" rIns="105138" bIns="5256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40C7CD9-A642-48F3-904E-7132A5F111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7191" y="7842443"/>
            <a:ext cx="3067169" cy="450490"/>
          </a:xfrm>
          <a:prstGeom prst="rect">
            <a:avLst/>
          </a:prstGeom>
        </p:spPr>
        <p:txBody>
          <a:bodyPr vert="horz" lIns="105138" tIns="52569" rIns="105138" bIns="52569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9FEA0A-7753-495F-9DCB-57EE56058574}" type="datetimeFigureOut">
              <a:rPr lang="ru-RU" smtClean="0"/>
              <a:t>20.08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177FABE-494F-4AF3-A94A-4B8E2A92B7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15555" y="7842443"/>
            <a:ext cx="4600754" cy="450490"/>
          </a:xfrm>
          <a:prstGeom prst="rect">
            <a:avLst/>
          </a:prstGeom>
        </p:spPr>
        <p:txBody>
          <a:bodyPr vert="horz" lIns="105138" tIns="52569" rIns="105138" bIns="52569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E3BCADE-1B90-4A61-A681-4E5A89FB86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627503" y="7842443"/>
            <a:ext cx="3067169" cy="450490"/>
          </a:xfrm>
          <a:prstGeom prst="rect">
            <a:avLst/>
          </a:prstGeom>
        </p:spPr>
        <p:txBody>
          <a:bodyPr vert="horz" lIns="105138" tIns="52569" rIns="105138" bIns="52569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B2CB9F-D895-4D46-9E74-CAE9499FE9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1971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1051377" rtl="0" eaLnBrk="1" latinLnBrk="0" hangingPunct="1">
        <a:lnSpc>
          <a:spcPct val="90000"/>
        </a:lnSpc>
        <a:spcBef>
          <a:spcPct val="0"/>
        </a:spcBef>
        <a:buNone/>
        <a:defRPr sz="5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2844" indent="-262844" algn="l" defTabSz="1051377" rtl="0" eaLnBrk="1" latinLnBrk="0" hangingPunct="1">
        <a:lnSpc>
          <a:spcPct val="90000"/>
        </a:lnSpc>
        <a:spcBef>
          <a:spcPts val="115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88533" indent="-262844" algn="l" defTabSz="1051377" rtl="0" eaLnBrk="1" latinLnBrk="0" hangingPunct="1">
        <a:lnSpc>
          <a:spcPct val="90000"/>
        </a:lnSpc>
        <a:spcBef>
          <a:spcPts val="575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314221" indent="-262844" algn="l" defTabSz="1051377" rtl="0" eaLnBrk="1" latinLnBrk="0" hangingPunct="1">
        <a:lnSpc>
          <a:spcPct val="90000"/>
        </a:lnSpc>
        <a:spcBef>
          <a:spcPts val="575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839910" indent="-262844" algn="l" defTabSz="1051377" rtl="0" eaLnBrk="1" latinLnBrk="0" hangingPunct="1">
        <a:lnSpc>
          <a:spcPct val="90000"/>
        </a:lnSpc>
        <a:spcBef>
          <a:spcPts val="57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365599" indent="-262844" algn="l" defTabSz="1051377" rtl="0" eaLnBrk="1" latinLnBrk="0" hangingPunct="1">
        <a:lnSpc>
          <a:spcPct val="90000"/>
        </a:lnSpc>
        <a:spcBef>
          <a:spcPts val="57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891287" indent="-262844" algn="l" defTabSz="1051377" rtl="0" eaLnBrk="1" latinLnBrk="0" hangingPunct="1">
        <a:lnSpc>
          <a:spcPct val="90000"/>
        </a:lnSpc>
        <a:spcBef>
          <a:spcPts val="57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416976" indent="-262844" algn="l" defTabSz="1051377" rtl="0" eaLnBrk="1" latinLnBrk="0" hangingPunct="1">
        <a:lnSpc>
          <a:spcPct val="90000"/>
        </a:lnSpc>
        <a:spcBef>
          <a:spcPts val="57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942664" indent="-262844" algn="l" defTabSz="1051377" rtl="0" eaLnBrk="1" latinLnBrk="0" hangingPunct="1">
        <a:lnSpc>
          <a:spcPct val="90000"/>
        </a:lnSpc>
        <a:spcBef>
          <a:spcPts val="57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468353" indent="-262844" algn="l" defTabSz="1051377" rtl="0" eaLnBrk="1" latinLnBrk="0" hangingPunct="1">
        <a:lnSpc>
          <a:spcPct val="90000"/>
        </a:lnSpc>
        <a:spcBef>
          <a:spcPts val="57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5137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5689" algn="l" defTabSz="105137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51377" algn="l" defTabSz="105137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77066" algn="l" defTabSz="105137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02754" algn="l" defTabSz="105137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28443" algn="l" defTabSz="105137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54131" algn="l" defTabSz="105137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9820" algn="l" defTabSz="105137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05508" algn="l" defTabSz="105137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593" y="338849"/>
            <a:ext cx="12268677" cy="14102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593" y="1974323"/>
            <a:ext cx="12268677" cy="55841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593" y="7842444"/>
            <a:ext cx="3180768" cy="4504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8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E306E3-4676-4A08-9300-95C7A50F70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8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657553" y="7842444"/>
            <a:ext cx="4316757" cy="4504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8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769502" y="7842444"/>
            <a:ext cx="3180768" cy="4504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8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47A87B-FA0B-4B13-8F5F-601AD5C0CD6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607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ctr" defTabSz="1128187" rtl="0" eaLnBrk="1" latinLnBrk="0" hangingPunct="1">
        <a:spcBef>
          <a:spcPct val="0"/>
        </a:spcBef>
        <a:buNone/>
        <a:defRPr sz="542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3070" indent="-423070" algn="l" defTabSz="1128187" rtl="0" eaLnBrk="1" latinLnBrk="0" hangingPunct="1">
        <a:spcBef>
          <a:spcPct val="20000"/>
        </a:spcBef>
        <a:buFont typeface="Arial" panose="020B0604020202020204" pitchFamily="34" charset="0"/>
        <a:buChar char="•"/>
        <a:defRPr sz="3948" kern="1200">
          <a:solidFill>
            <a:schemeClr val="tx1"/>
          </a:solidFill>
          <a:latin typeface="+mn-lt"/>
          <a:ea typeface="+mn-ea"/>
          <a:cs typeface="+mn-cs"/>
        </a:defRPr>
      </a:lvl1pPr>
      <a:lvl2pPr marL="916652" indent="-352558" algn="l" defTabSz="1128187" rtl="0" eaLnBrk="1" latinLnBrk="0" hangingPunct="1">
        <a:spcBef>
          <a:spcPct val="20000"/>
        </a:spcBef>
        <a:buFont typeface="Arial" panose="020B0604020202020204" pitchFamily="34" charset="0"/>
        <a:buChar char="–"/>
        <a:defRPr sz="3455" kern="1200">
          <a:solidFill>
            <a:schemeClr val="tx1"/>
          </a:solidFill>
          <a:latin typeface="+mn-lt"/>
          <a:ea typeface="+mn-ea"/>
          <a:cs typeface="+mn-cs"/>
        </a:defRPr>
      </a:lvl2pPr>
      <a:lvl3pPr marL="1410233" indent="-282047" algn="l" defTabSz="11281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61" kern="1200">
          <a:solidFill>
            <a:schemeClr val="tx1"/>
          </a:solidFill>
          <a:latin typeface="+mn-lt"/>
          <a:ea typeface="+mn-ea"/>
          <a:cs typeface="+mn-cs"/>
        </a:defRPr>
      </a:lvl3pPr>
      <a:lvl4pPr marL="1974327" indent="-282047" algn="l" defTabSz="1128187" rtl="0" eaLnBrk="1" latinLnBrk="0" hangingPunct="1">
        <a:spcBef>
          <a:spcPct val="20000"/>
        </a:spcBef>
        <a:buFont typeface="Arial" panose="020B0604020202020204" pitchFamily="34" charset="0"/>
        <a:buChar char="–"/>
        <a:defRPr sz="2468" kern="1200">
          <a:solidFill>
            <a:schemeClr val="tx1"/>
          </a:solidFill>
          <a:latin typeface="+mn-lt"/>
          <a:ea typeface="+mn-ea"/>
          <a:cs typeface="+mn-cs"/>
        </a:defRPr>
      </a:lvl4pPr>
      <a:lvl5pPr marL="2538420" indent="-282047" algn="l" defTabSz="1128187" rtl="0" eaLnBrk="1" latinLnBrk="0" hangingPunct="1">
        <a:spcBef>
          <a:spcPct val="20000"/>
        </a:spcBef>
        <a:buFont typeface="Arial" panose="020B0604020202020204" pitchFamily="34" charset="0"/>
        <a:buChar char="»"/>
        <a:defRPr sz="2468" kern="1200">
          <a:solidFill>
            <a:schemeClr val="tx1"/>
          </a:solidFill>
          <a:latin typeface="+mn-lt"/>
          <a:ea typeface="+mn-ea"/>
          <a:cs typeface="+mn-cs"/>
        </a:defRPr>
      </a:lvl5pPr>
      <a:lvl6pPr marL="3102513" indent="-282047" algn="l" defTabSz="11281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468" kern="1200">
          <a:solidFill>
            <a:schemeClr val="tx1"/>
          </a:solidFill>
          <a:latin typeface="+mn-lt"/>
          <a:ea typeface="+mn-ea"/>
          <a:cs typeface="+mn-cs"/>
        </a:defRPr>
      </a:lvl6pPr>
      <a:lvl7pPr marL="3666607" indent="-282047" algn="l" defTabSz="11281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468" kern="1200">
          <a:solidFill>
            <a:schemeClr val="tx1"/>
          </a:solidFill>
          <a:latin typeface="+mn-lt"/>
          <a:ea typeface="+mn-ea"/>
          <a:cs typeface="+mn-cs"/>
        </a:defRPr>
      </a:lvl7pPr>
      <a:lvl8pPr marL="4230700" indent="-282047" algn="l" defTabSz="11281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468" kern="1200">
          <a:solidFill>
            <a:schemeClr val="tx1"/>
          </a:solidFill>
          <a:latin typeface="+mn-lt"/>
          <a:ea typeface="+mn-ea"/>
          <a:cs typeface="+mn-cs"/>
        </a:defRPr>
      </a:lvl8pPr>
      <a:lvl9pPr marL="4794794" indent="-282047" algn="l" defTabSz="11281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4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28187" rtl="0" eaLnBrk="1" latinLnBrk="0" hangingPunct="1">
        <a:defRPr sz="2221" kern="1200">
          <a:solidFill>
            <a:schemeClr val="tx1"/>
          </a:solidFill>
          <a:latin typeface="+mn-lt"/>
          <a:ea typeface="+mn-ea"/>
          <a:cs typeface="+mn-cs"/>
        </a:defRPr>
      </a:lvl1pPr>
      <a:lvl2pPr marL="564093" algn="l" defTabSz="1128187" rtl="0" eaLnBrk="1" latinLnBrk="0" hangingPunct="1">
        <a:defRPr sz="2221" kern="1200">
          <a:solidFill>
            <a:schemeClr val="tx1"/>
          </a:solidFill>
          <a:latin typeface="+mn-lt"/>
          <a:ea typeface="+mn-ea"/>
          <a:cs typeface="+mn-cs"/>
        </a:defRPr>
      </a:lvl2pPr>
      <a:lvl3pPr marL="1128187" algn="l" defTabSz="1128187" rtl="0" eaLnBrk="1" latinLnBrk="0" hangingPunct="1">
        <a:defRPr sz="2221" kern="1200">
          <a:solidFill>
            <a:schemeClr val="tx1"/>
          </a:solidFill>
          <a:latin typeface="+mn-lt"/>
          <a:ea typeface="+mn-ea"/>
          <a:cs typeface="+mn-cs"/>
        </a:defRPr>
      </a:lvl3pPr>
      <a:lvl4pPr marL="1692280" algn="l" defTabSz="1128187" rtl="0" eaLnBrk="1" latinLnBrk="0" hangingPunct="1">
        <a:defRPr sz="2221" kern="1200">
          <a:solidFill>
            <a:schemeClr val="tx1"/>
          </a:solidFill>
          <a:latin typeface="+mn-lt"/>
          <a:ea typeface="+mn-ea"/>
          <a:cs typeface="+mn-cs"/>
        </a:defRPr>
      </a:lvl4pPr>
      <a:lvl5pPr marL="2256373" algn="l" defTabSz="1128187" rtl="0" eaLnBrk="1" latinLnBrk="0" hangingPunct="1">
        <a:defRPr sz="2221" kern="1200">
          <a:solidFill>
            <a:schemeClr val="tx1"/>
          </a:solidFill>
          <a:latin typeface="+mn-lt"/>
          <a:ea typeface="+mn-ea"/>
          <a:cs typeface="+mn-cs"/>
        </a:defRPr>
      </a:lvl5pPr>
      <a:lvl6pPr marL="2820467" algn="l" defTabSz="1128187" rtl="0" eaLnBrk="1" latinLnBrk="0" hangingPunct="1">
        <a:defRPr sz="2221" kern="1200">
          <a:solidFill>
            <a:schemeClr val="tx1"/>
          </a:solidFill>
          <a:latin typeface="+mn-lt"/>
          <a:ea typeface="+mn-ea"/>
          <a:cs typeface="+mn-cs"/>
        </a:defRPr>
      </a:lvl6pPr>
      <a:lvl7pPr marL="3384560" algn="l" defTabSz="1128187" rtl="0" eaLnBrk="1" latinLnBrk="0" hangingPunct="1">
        <a:defRPr sz="2221" kern="1200">
          <a:solidFill>
            <a:schemeClr val="tx1"/>
          </a:solidFill>
          <a:latin typeface="+mn-lt"/>
          <a:ea typeface="+mn-ea"/>
          <a:cs typeface="+mn-cs"/>
        </a:defRPr>
      </a:lvl7pPr>
      <a:lvl8pPr marL="3948654" algn="l" defTabSz="1128187" rtl="0" eaLnBrk="1" latinLnBrk="0" hangingPunct="1">
        <a:defRPr sz="2221" kern="1200">
          <a:solidFill>
            <a:schemeClr val="tx1"/>
          </a:solidFill>
          <a:latin typeface="+mn-lt"/>
          <a:ea typeface="+mn-ea"/>
          <a:cs typeface="+mn-cs"/>
        </a:defRPr>
      </a:lvl8pPr>
      <a:lvl9pPr marL="4512747" algn="l" defTabSz="1128187" rtl="0" eaLnBrk="1" latinLnBrk="0" hangingPunct="1">
        <a:defRPr sz="22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>
                <a:lumMod val="60000"/>
                <a:lumOff val="40000"/>
              </a:schemeClr>
            </a:gs>
            <a:gs pos="56000">
              <a:srgbClr val="0070C0"/>
            </a:gs>
            <a:gs pos="100000">
              <a:srgbClr val="57D3F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6845" y="2650199"/>
            <a:ext cx="8220002" cy="581117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5577" y="-1"/>
            <a:ext cx="3015090" cy="846137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Прямоугольник 6"/>
          <p:cNvSpPr/>
          <p:nvPr/>
        </p:nvSpPr>
        <p:spPr>
          <a:xfrm>
            <a:off x="4516440" y="1458787"/>
            <a:ext cx="7886180" cy="1687385"/>
          </a:xfrm>
          <a:prstGeom prst="rect">
            <a:avLst/>
          </a:prstGeom>
          <a:effectLst>
            <a:glow rad="101600">
              <a:schemeClr val="accent5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 defTabSz="1128187" fontAlgn="t"/>
            <a:r>
              <a:rPr lang="ru-RU" sz="3455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УМ</a:t>
            </a:r>
          </a:p>
          <a:p>
            <a:pPr algn="ctr" defTabSz="1128187" fontAlgn="t"/>
            <a:r>
              <a:rPr lang="ru-RU" sz="3455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ей профессиональных образовательных организаций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704363" y="7793818"/>
            <a:ext cx="2043394" cy="624017"/>
          </a:xfrm>
          <a:prstGeom prst="rect">
            <a:avLst/>
          </a:prstGeom>
          <a:effectLst>
            <a:glow rad="101600">
              <a:schemeClr val="accent5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>
            <a:defPPr>
              <a:defRPr lang="ru-RU"/>
            </a:defPPr>
            <a:lvl1pPr algn="ctr" fontAlgn="t">
              <a:defRPr sz="28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defTabSz="1128187"/>
            <a:r>
              <a:rPr lang="ru-RU" sz="3455" dirty="0">
                <a:solidFill>
                  <a:prstClr val="white"/>
                </a:solidFill>
              </a:rPr>
              <a:t>2025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683694" y="5207962"/>
            <a:ext cx="7718926" cy="851900"/>
          </a:xfrm>
          <a:prstGeom prst="rect">
            <a:avLst/>
          </a:prstGeom>
          <a:effectLst>
            <a:glow rad="101600">
              <a:schemeClr val="accent5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>
            <a:defPPr>
              <a:defRPr lang="ru-RU"/>
            </a:defPPr>
            <a:lvl1pPr algn="ctr" fontAlgn="t">
              <a:defRPr sz="28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algn="l" defTabSz="1128187"/>
            <a:r>
              <a:rPr lang="ru-RU" sz="2468" dirty="0">
                <a:solidFill>
                  <a:prstClr val="white"/>
                </a:solidFill>
              </a:rPr>
              <a:t>Черных Наталья Сергеевна, директор СОГБПОУ «Десногорский энергетический колледж» </a:t>
            </a:r>
            <a:endParaRPr lang="ru-RU" sz="2468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320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75" y="1960"/>
          <a:ext cx="1776" cy="19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Слайд think-cell" r:id="rId4" imgW="479" imgH="481" progId="TCLayout.ActiveDocument.1">
                  <p:embed/>
                </p:oleObj>
              </mc:Choice>
              <mc:Fallback>
                <p:oleObj name="Слайд think-cell" r:id="rId4" imgW="479" imgH="4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75" y="1960"/>
                        <a:ext cx="1776" cy="19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Прямая соединительная линия 6"/>
          <p:cNvCxnSpPr/>
          <p:nvPr/>
        </p:nvCxnSpPr>
        <p:spPr>
          <a:xfrm>
            <a:off x="-194310" y="1198135"/>
            <a:ext cx="13913112" cy="0"/>
          </a:xfrm>
          <a:prstGeom prst="line">
            <a:avLst/>
          </a:prstGeom>
          <a:ln w="254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645904" y="563378"/>
            <a:ext cx="10907036" cy="662289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105138" tIns="52569" rIns="105138" bIns="52569" rtlCol="0" anchor="ctr"/>
          <a:lstStyle>
            <a:defPPr>
              <a:defRPr lang="ru-RU"/>
            </a:defPPr>
            <a:lvl1pPr algn="ctr">
              <a:defRPr sz="3200" b="1">
                <a:solidFill>
                  <a:srgbClr val="2F5597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ru-RU" dirty="0"/>
              <a:t>СОГБПОУ «Десногорский энергетический колледж»</a:t>
            </a:r>
          </a:p>
        </p:txBody>
      </p:sp>
      <p:pic>
        <p:nvPicPr>
          <p:cNvPr id="9" name="Рисунок 1" descr="C:\Documents and Settings\Прокопенкова\Мои документы\лого колледж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461" y="61915"/>
            <a:ext cx="1040882" cy="1080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: скругленные углы 16">
            <a:extLst>
              <a:ext uri="{FF2B5EF4-FFF2-40B4-BE49-F238E27FC236}">
                <a16:creationId xmlns:a16="http://schemas.microsoft.com/office/drawing/2014/main" id="{2A48CCB4-F09C-4BCD-A33D-DE973BF7AD6B}"/>
              </a:ext>
            </a:extLst>
          </p:cNvPr>
          <p:cNvSpPr/>
          <p:nvPr/>
        </p:nvSpPr>
        <p:spPr>
          <a:xfrm>
            <a:off x="1852694" y="69523"/>
            <a:ext cx="10225442" cy="498201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105138" tIns="52569" rIns="105138" bIns="52569" rtlCol="0" anchor="ctr"/>
          <a:lstStyle/>
          <a:p>
            <a:pPr algn="ctr"/>
            <a:r>
              <a:rPr lang="ru-RU" sz="3200" b="1" dirty="0" smtClean="0">
                <a:solidFill>
                  <a:srgbClr val="2F5597"/>
                </a:solidFill>
              </a:rPr>
              <a:t>Направления содействия трудоустройству</a:t>
            </a:r>
            <a:endParaRPr lang="ru-RU" sz="3200" b="1" dirty="0">
              <a:solidFill>
                <a:srgbClr val="2F5597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02592" y="2097422"/>
            <a:ext cx="2182967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е профориентационной работы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70566" y="4987462"/>
            <a:ext cx="279907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иональная направленность образовательного процесса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2385560" y="2046578"/>
            <a:ext cx="197582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информации о вакансиях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2270327" y="5773575"/>
            <a:ext cx="189022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учение намерений выпускников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4263271" y="2046578"/>
            <a:ext cx="218335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учение выпускников продуктивному поиску работы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4777392" y="6023538"/>
            <a:ext cx="341227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встреч выпускников с потенциальными работодателями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6528744" y="2137670"/>
            <a:ext cx="253750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ставничество и производственные практики</a:t>
            </a:r>
            <a:endParaRPr lang="ru-RU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893654" y="3075176"/>
            <a:ext cx="32092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54" name="TextBox 53"/>
          <p:cNvSpPr txBox="1"/>
          <p:nvPr/>
        </p:nvSpPr>
        <p:spPr>
          <a:xfrm>
            <a:off x="2579649" y="3124572"/>
            <a:ext cx="32092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55" name="TextBox 54"/>
          <p:cNvSpPr txBox="1"/>
          <p:nvPr/>
        </p:nvSpPr>
        <p:spPr>
          <a:xfrm>
            <a:off x="3333232" y="3110812"/>
            <a:ext cx="32092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56" name="TextBox 55"/>
          <p:cNvSpPr txBox="1"/>
          <p:nvPr/>
        </p:nvSpPr>
        <p:spPr>
          <a:xfrm>
            <a:off x="4160554" y="3169634"/>
            <a:ext cx="32092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57" name="TextBox 56"/>
          <p:cNvSpPr txBox="1"/>
          <p:nvPr/>
        </p:nvSpPr>
        <p:spPr>
          <a:xfrm>
            <a:off x="5251756" y="3221206"/>
            <a:ext cx="32092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5</a:t>
            </a:r>
            <a:endParaRPr lang="ru-RU" dirty="0"/>
          </a:p>
        </p:txBody>
      </p:sp>
      <p:sp>
        <p:nvSpPr>
          <p:cNvPr id="58" name="TextBox 57"/>
          <p:cNvSpPr txBox="1"/>
          <p:nvPr/>
        </p:nvSpPr>
        <p:spPr>
          <a:xfrm>
            <a:off x="6528744" y="3318561"/>
            <a:ext cx="32092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6</a:t>
            </a:r>
            <a:endParaRPr lang="ru-RU" dirty="0"/>
          </a:p>
        </p:txBody>
      </p:sp>
      <p:sp>
        <p:nvSpPr>
          <p:cNvPr id="59" name="TextBox 58"/>
          <p:cNvSpPr txBox="1"/>
          <p:nvPr/>
        </p:nvSpPr>
        <p:spPr>
          <a:xfrm>
            <a:off x="7868744" y="3345579"/>
            <a:ext cx="32092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7</a:t>
            </a:r>
            <a:endParaRPr lang="ru-RU" dirty="0"/>
          </a:p>
        </p:txBody>
      </p:sp>
      <p:cxnSp>
        <p:nvCxnSpPr>
          <p:cNvPr id="61" name="Соединительная линия уступом 60"/>
          <p:cNvCxnSpPr>
            <a:stCxn id="46" idx="2"/>
            <a:endCxn id="53" idx="0"/>
          </p:cNvCxnSpPr>
          <p:nvPr/>
        </p:nvCxnSpPr>
        <p:spPr>
          <a:xfrm rot="16200000" flipH="1">
            <a:off x="1577633" y="2598694"/>
            <a:ext cx="192924" cy="760039"/>
          </a:xfrm>
          <a:prstGeom prst="bentConnector3">
            <a:avLst/>
          </a:prstGeom>
          <a:ln w="127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Соединительная линия уступом 82"/>
          <p:cNvCxnSpPr>
            <a:stCxn id="48" idx="2"/>
            <a:endCxn id="55" idx="0"/>
          </p:cNvCxnSpPr>
          <p:nvPr/>
        </p:nvCxnSpPr>
        <p:spPr>
          <a:xfrm rot="16200000" flipH="1">
            <a:off x="3293879" y="2910998"/>
            <a:ext cx="279404" cy="120223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Соединительная линия уступом 90"/>
          <p:cNvCxnSpPr>
            <a:stCxn id="50" idx="2"/>
            <a:endCxn id="57" idx="0"/>
          </p:cNvCxnSpPr>
          <p:nvPr/>
        </p:nvCxnSpPr>
        <p:spPr>
          <a:xfrm rot="16200000" flipH="1">
            <a:off x="5188683" y="2997672"/>
            <a:ext cx="389798" cy="5727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Соединительная линия уступом 97"/>
          <p:cNvCxnSpPr>
            <a:stCxn id="52" idx="2"/>
            <a:endCxn id="59" idx="0"/>
          </p:cNvCxnSpPr>
          <p:nvPr/>
        </p:nvCxnSpPr>
        <p:spPr>
          <a:xfrm rot="16200000" flipH="1">
            <a:off x="7586396" y="2902769"/>
            <a:ext cx="653911" cy="231707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/>
          <p:cNvGrpSpPr/>
          <p:nvPr/>
        </p:nvGrpSpPr>
        <p:grpSpPr>
          <a:xfrm>
            <a:off x="-1558833" y="3576722"/>
            <a:ext cx="11474853" cy="1871578"/>
            <a:chOff x="-1289453" y="3564413"/>
            <a:chExt cx="12046353" cy="1664489"/>
          </a:xfrm>
          <a:scene3d>
            <a:camera prst="perspectiveHeroicExtremeLeftFacing"/>
            <a:lightRig rig="threePt" dir="t"/>
          </a:scene3d>
        </p:grpSpPr>
        <p:sp>
          <p:nvSpPr>
            <p:cNvPr id="20" name="Стрелка вправо 19"/>
            <p:cNvSpPr/>
            <p:nvPr/>
          </p:nvSpPr>
          <p:spPr>
            <a:xfrm>
              <a:off x="-1289453" y="3862733"/>
              <a:ext cx="12046353" cy="1366169"/>
            </a:xfrm>
            <a:prstGeom prst="rightArrow">
              <a:avLst>
                <a:gd name="adj1" fmla="val 42023"/>
                <a:gd name="adj2" fmla="val 62249"/>
              </a:avLst>
            </a:prstGeom>
            <a:solidFill>
              <a:srgbClr val="FF8B8B"/>
            </a:solidFill>
            <a:ln>
              <a:solidFill>
                <a:srgbClr val="FF8B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Блок-схема: магнитный диск 26"/>
            <p:cNvSpPr/>
            <p:nvPr/>
          </p:nvSpPr>
          <p:spPr>
            <a:xfrm>
              <a:off x="1093245" y="3594414"/>
              <a:ext cx="484943" cy="1019683"/>
            </a:xfrm>
            <a:prstGeom prst="flowChartMagneticDisk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Блок-схема: магнитный диск 28"/>
            <p:cNvSpPr/>
            <p:nvPr/>
          </p:nvSpPr>
          <p:spPr>
            <a:xfrm>
              <a:off x="2317808" y="3594413"/>
              <a:ext cx="484943" cy="1019681"/>
            </a:xfrm>
            <a:prstGeom prst="flowChartMagneticDisk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Блок-схема: магнитный диск 29"/>
            <p:cNvSpPr/>
            <p:nvPr/>
          </p:nvSpPr>
          <p:spPr>
            <a:xfrm>
              <a:off x="3464555" y="3594415"/>
              <a:ext cx="484943" cy="1019682"/>
            </a:xfrm>
            <a:prstGeom prst="flowChartMagneticDisk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Блок-схема: магнитный диск 30"/>
            <p:cNvSpPr/>
            <p:nvPr/>
          </p:nvSpPr>
          <p:spPr>
            <a:xfrm>
              <a:off x="4653145" y="3594415"/>
              <a:ext cx="484943" cy="1105103"/>
            </a:xfrm>
            <a:prstGeom prst="flowChartMagneticDisk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Блок-схема: магнитный диск 31"/>
            <p:cNvSpPr/>
            <p:nvPr/>
          </p:nvSpPr>
          <p:spPr>
            <a:xfrm>
              <a:off x="5786316" y="3594413"/>
              <a:ext cx="484943" cy="1105103"/>
            </a:xfrm>
            <a:prstGeom prst="flowChartMagneticDisk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Блок-схема: магнитный диск 32"/>
            <p:cNvSpPr/>
            <p:nvPr/>
          </p:nvSpPr>
          <p:spPr>
            <a:xfrm>
              <a:off x="6913786" y="3594413"/>
              <a:ext cx="484943" cy="1105103"/>
            </a:xfrm>
            <a:prstGeom prst="flowChartMagneticDisk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Блок-схема: магнитный диск 33"/>
            <p:cNvSpPr/>
            <p:nvPr/>
          </p:nvSpPr>
          <p:spPr>
            <a:xfrm>
              <a:off x="7866068" y="3564413"/>
              <a:ext cx="484943" cy="1105103"/>
            </a:xfrm>
            <a:prstGeom prst="flowChartMagneticDisk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Блок-схема: магнитный диск 36"/>
            <p:cNvSpPr/>
            <p:nvPr/>
          </p:nvSpPr>
          <p:spPr>
            <a:xfrm>
              <a:off x="8779844" y="3594415"/>
              <a:ext cx="484943" cy="1105103"/>
            </a:xfrm>
            <a:prstGeom prst="flowChartMagneticDisk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62" name="Соединительная линия уступом 61"/>
          <p:cNvCxnSpPr/>
          <p:nvPr/>
        </p:nvCxnSpPr>
        <p:spPr>
          <a:xfrm rot="5400000">
            <a:off x="2237669" y="4519079"/>
            <a:ext cx="529033" cy="475849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10005025" y="2576831"/>
            <a:ext cx="2802297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нности «РОСАТОМА»: социально значимые проекты и мероприятия</a:t>
            </a:r>
          </a:p>
        </p:txBody>
      </p:sp>
      <p:cxnSp>
        <p:nvCxnSpPr>
          <p:cNvPr id="88" name="Соединительная линия уступом 87"/>
          <p:cNvCxnSpPr>
            <a:stCxn id="31" idx="3"/>
            <a:endCxn id="49" idx="0"/>
          </p:cNvCxnSpPr>
          <p:nvPr/>
        </p:nvCxnSpPr>
        <p:spPr>
          <a:xfrm rot="5400000">
            <a:off x="3313863" y="4754631"/>
            <a:ext cx="920523" cy="1117365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Соединительная линия уступом 94"/>
          <p:cNvCxnSpPr/>
          <p:nvPr/>
        </p:nvCxnSpPr>
        <p:spPr>
          <a:xfrm rot="5400000">
            <a:off x="5735565" y="5299682"/>
            <a:ext cx="725855" cy="696259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9253851" y="3428955"/>
            <a:ext cx="32092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8</a:t>
            </a:r>
            <a:endParaRPr lang="ru-RU" dirty="0"/>
          </a:p>
        </p:txBody>
      </p:sp>
      <p:cxnSp>
        <p:nvCxnSpPr>
          <p:cNvPr id="82" name="Соединительная линия уступом 81"/>
          <p:cNvCxnSpPr>
            <a:stCxn id="26" idx="2"/>
            <a:endCxn id="81" idx="0"/>
          </p:cNvCxnSpPr>
          <p:nvPr/>
        </p:nvCxnSpPr>
        <p:spPr>
          <a:xfrm rot="5400000">
            <a:off x="10376596" y="2399377"/>
            <a:ext cx="67294" cy="1991862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/>
          <p:cNvSpPr/>
          <p:nvPr/>
        </p:nvSpPr>
        <p:spPr>
          <a:xfrm>
            <a:off x="202592" y="7052614"/>
            <a:ext cx="133278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взаимодействия Смоленской АЭС и СОГБПОУ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Десногорский энергетический колледж» по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ке специалистов среднего звена, квалифицированных рабочих, служащих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роприятий Смоленской АЭС и администрации г. Десногорска по повышению заинтересованности выпускников школ города и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ГБПОУ «Десногорский энергетический колледж»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 выбору профессии ГК «</a:t>
            </a:r>
            <a:r>
              <a:rPr lang="ru-RU" sz="1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осатом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  <a:endParaRPr lang="ru-R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76420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10</TotalTime>
  <Words>124</Words>
  <Application>Microsoft Office PowerPoint</Application>
  <PresentationFormat>Произвольный</PresentationFormat>
  <Paragraphs>25</Paragraphs>
  <Slides>2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9" baseType="lpstr">
      <vt:lpstr>Arial</vt:lpstr>
      <vt:lpstr>Calibri</vt:lpstr>
      <vt:lpstr>Calibri Light</vt:lpstr>
      <vt:lpstr>Times New Roman</vt:lpstr>
      <vt:lpstr>Тема Office</vt:lpstr>
      <vt:lpstr>1_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дминистратор</dc:creator>
  <cp:lastModifiedBy>Вишневская Виктория Михайловн</cp:lastModifiedBy>
  <cp:revision>53</cp:revision>
  <cp:lastPrinted>2025-07-22T13:00:32Z</cp:lastPrinted>
  <dcterms:created xsi:type="dcterms:W3CDTF">2025-07-10T23:33:13Z</dcterms:created>
  <dcterms:modified xsi:type="dcterms:W3CDTF">2025-08-19T22:30:13Z</dcterms:modified>
</cp:coreProperties>
</file>